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453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A20013"/>
    <a:srgbClr val="BDBDBD"/>
    <a:srgbClr val="727272"/>
    <a:srgbClr val="E5E5E5"/>
    <a:srgbClr val="D9D9D9"/>
    <a:srgbClr val="EB0000"/>
    <a:srgbClr val="C60018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453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4C93A91-93C6-49AF-AAE4-CF393177EEC6}"/>
    <pc:docChg chg="delSld">
      <pc:chgData name="Meyer Raphael (PAR-ES)" userId="79615dfe-ed48-4e74-a40f-4f7b034c1c27" providerId="ADAL" clId="{04C93A91-93C6-49AF-AAE4-CF393177EEC6}" dt="2022-02-22T16:03:28.570" v="0" actId="47"/>
      <pc:docMkLst>
        <pc:docMk/>
      </pc:docMkLst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2418926505" sldId="400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3538470781" sldId="401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1333023401" sldId="402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63BE572-8389-4532-A56C-329A55AB8068}"/>
    <pc:docChg chg="addSld modSld">
      <pc:chgData name="Meyer Raphael (PAR-ES)" userId="79615dfe-ed48-4e74-a40f-4f7b034c1c27" providerId="ADAL" clId="{F63BE572-8389-4532-A56C-329A55AB8068}" dt="2022-02-04T08:05:52.176" v="14" actId="27918"/>
      <pc:docMkLst>
        <pc:docMk/>
      </pc:docMkLst>
      <pc:sldChg chg="add mod">
        <pc:chgData name="Meyer Raphael (PAR-ES)" userId="79615dfe-ed48-4e74-a40f-4f7b034c1c27" providerId="ADAL" clId="{F63BE572-8389-4532-A56C-329A55AB8068}" dt="2022-02-04T08:04:50.965" v="7" actId="27918"/>
        <pc:sldMkLst>
          <pc:docMk/>
          <pc:sldMk cId="3727963147" sldId="396"/>
        </pc:sldMkLst>
      </pc:sldChg>
      <pc:sldChg chg="add mod">
        <pc:chgData name="Meyer Raphael (PAR-ES)" userId="79615dfe-ed48-4e74-a40f-4f7b034c1c27" providerId="ADAL" clId="{F63BE572-8389-4532-A56C-329A55AB8068}" dt="2022-02-04T08:05:27.680" v="11" actId="27918"/>
        <pc:sldMkLst>
          <pc:docMk/>
          <pc:sldMk cId="3782806074" sldId="397"/>
        </pc:sldMkLst>
      </pc:sldChg>
      <pc:sldChg chg="add mod">
        <pc:chgData name="Meyer Raphael (PAR-ES)" userId="79615dfe-ed48-4e74-a40f-4f7b034c1c27" providerId="ADAL" clId="{F63BE572-8389-4532-A56C-329A55AB8068}" dt="2022-02-04T08:05:52.176" v="14" actId="27918"/>
        <pc:sldMkLst>
          <pc:docMk/>
          <pc:sldMk cId="89238950" sldId="398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0A4684E1-2512-4F2A-BFF5-07E96CBF9BB7}"/>
    <pc:docChg chg="modSld">
      <pc:chgData name="Weigel Stefan (PAR-EPS)" userId="fd3b2067-2981-4ad8-bf3a-d2e1004e4fa8" providerId="ADAL" clId="{0A4684E1-2512-4F2A-BFF5-07E96CBF9BB7}" dt="2024-04-22T07:58:03.520" v="23" actId="27918"/>
      <pc:docMkLst>
        <pc:docMk/>
      </pc:docMkLst>
      <pc:sldChg chg="modSp mod">
        <pc:chgData name="Weigel Stefan (PAR-EPS)" userId="fd3b2067-2981-4ad8-bf3a-d2e1004e4fa8" providerId="ADAL" clId="{0A4684E1-2512-4F2A-BFF5-07E96CBF9BB7}" dt="2024-04-22T07:58:03.520" v="23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0A4684E1-2512-4F2A-BFF5-07E96CBF9BB7}" dt="2024-04-22T07:53:11.652" v="0" actId="255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0A4684E1-2512-4F2A-BFF5-07E96CBF9BB7}" dt="2024-04-22T07:53:11.652" v="0" actId="255"/>
          <ac:spMkLst>
            <pc:docMk/>
            <pc:sldMk cId="1659961403" sldId="399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0A4684E1-2512-4F2A-BFF5-07E96CBF9BB7}" dt="2024-04-22T07:53:44.795" v="12" actId="1038"/>
          <ac:spMkLst>
            <pc:docMk/>
            <pc:sldMk cId="1659961403" sldId="399"/>
            <ac:spMk id="12" creationId="{11507FF3-D0A7-4303-867B-DBB6D2D0206D}"/>
          </ac:spMkLst>
        </pc:spChg>
        <pc:graphicFrameChg chg="mod">
          <ac:chgData name="Weigel Stefan (PAR-EPS)" userId="fd3b2067-2981-4ad8-bf3a-d2e1004e4fa8" providerId="ADAL" clId="{0A4684E1-2512-4F2A-BFF5-07E96CBF9BB7}" dt="2024-04-22T07:55:47.519" v="21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0A4684E1-2512-4F2A-BFF5-07E96CBF9BB7}" dt="2024-04-22T07:55:01.736" v="17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7FE58B98-9F5A-434D-A674-9D9C86F2C183}"/>
    <pc:docChg chg="modSld">
      <pc:chgData name="Weigel Stefan (PAR-EPS)" userId="fd3b2067-2981-4ad8-bf3a-d2e1004e4fa8" providerId="ADAL" clId="{7FE58B98-9F5A-434D-A674-9D9C86F2C183}" dt="2024-02-16T10:26:50.061" v="80" actId="207"/>
      <pc:docMkLst>
        <pc:docMk/>
      </pc:docMkLst>
      <pc:sldChg chg="modSp mod">
        <pc:chgData name="Weigel Stefan (PAR-EPS)" userId="fd3b2067-2981-4ad8-bf3a-d2e1004e4fa8" providerId="ADAL" clId="{7FE58B98-9F5A-434D-A674-9D9C86F2C183}" dt="2024-02-16T10:26:50.061" v="80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7FE58B98-9F5A-434D-A674-9D9C86F2C183}" dt="2024-02-16T10:11:26.548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2:10.315" v="7" actId="790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1:54.982" v="6" actId="20577"/>
          <ac:spMkLst>
            <pc:docMk/>
            <pc:sldMk cId="1659961403" sldId="399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7FE58B98-9F5A-434D-A674-9D9C86F2C183}" dt="2024-02-16T10:26:18.928" v="77" actId="207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7FE58B98-9F5A-434D-A674-9D9C86F2C183}" dt="2024-02-16T10:26:50.061" v="80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459C5D02-A89A-4CFB-960E-817C7C6C4C92}"/>
    <pc:docChg chg="addSld">
      <pc:chgData name="Meyer Raphael (PAR-ES)" userId="79615dfe-ed48-4e74-a40f-4f7b034c1c27" providerId="ADAL" clId="{459C5D02-A89A-4CFB-960E-817C7C6C4C92}" dt="2022-02-04T07:53:36.218" v="2" actId="2890"/>
      <pc:docMkLst>
        <pc:docMk/>
      </pc:docMkLst>
      <pc:sldChg chg="add">
        <pc:chgData name="Meyer Raphael (PAR-ES)" userId="79615dfe-ed48-4e74-a40f-4f7b034c1c27" providerId="ADAL" clId="{459C5D02-A89A-4CFB-960E-817C7C6C4C92}" dt="2022-02-04T07:53:32.573" v="0" actId="2890"/>
        <pc:sldMkLst>
          <pc:docMk/>
          <pc:sldMk cId="2105819215" sldId="396"/>
        </pc:sldMkLst>
      </pc:sldChg>
      <pc:sldChg chg="add">
        <pc:chgData name="Meyer Raphael (PAR-ES)" userId="79615dfe-ed48-4e74-a40f-4f7b034c1c27" providerId="ADAL" clId="{459C5D02-A89A-4CFB-960E-817C7C6C4C92}" dt="2022-02-04T07:53:35.496" v="1" actId="2890"/>
        <pc:sldMkLst>
          <pc:docMk/>
          <pc:sldMk cId="340904585" sldId="397"/>
        </pc:sldMkLst>
      </pc:sldChg>
      <pc:sldChg chg="add">
        <pc:chgData name="Meyer Raphael (PAR-ES)" userId="79615dfe-ed48-4e74-a40f-4f7b034c1c27" providerId="ADAL" clId="{459C5D02-A89A-4CFB-960E-817C7C6C4C92}" dt="2022-02-04T07:53:36.218" v="2" actId="2890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B46F25F5-6E41-433D-B5B5-6065352641B3}"/>
    <pc:docChg chg="undo custSel modSld">
      <pc:chgData name="Meyer Raphael (PAR-ES)" userId="79615dfe-ed48-4e74-a40f-4f7b034c1c27" providerId="ADAL" clId="{B46F25F5-6E41-433D-B5B5-6065352641B3}" dt="2022-02-04T08:19:44.165" v="279"/>
      <pc:docMkLst>
        <pc:docMk/>
      </pc:docMkLst>
      <pc:sldChg chg="modSp mod">
        <pc:chgData name="Meyer Raphael (PAR-ES)" userId="79615dfe-ed48-4e74-a40f-4f7b034c1c27" providerId="ADAL" clId="{B46F25F5-6E41-433D-B5B5-6065352641B3}" dt="2022-02-04T08:19:00.635" v="276" actId="2711"/>
        <pc:sldMkLst>
          <pc:docMk/>
          <pc:sldMk cId="78844114" sldId="395"/>
        </pc:sldMkLst>
        <pc:spChg chg="mod">
          <ac:chgData name="Meyer Raphael (PAR-ES)" userId="79615dfe-ed48-4e74-a40f-4f7b034c1c27" providerId="ADAL" clId="{B46F25F5-6E41-433D-B5B5-6065352641B3}" dt="2022-02-04T08:18:55.113" v="275" actId="2711"/>
          <ac:spMkLst>
            <pc:docMk/>
            <pc:sldMk cId="78844114" sldId="39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9:00.635" v="276" actId="2711"/>
          <ac:spMkLst>
            <pc:docMk/>
            <pc:sldMk cId="78844114" sldId="395"/>
            <ac:spMk id="10" creationId="{00000000-0000-0000-0000-000000000000}"/>
          </ac:spMkLst>
        </pc:spChg>
      </pc:sldChg>
      <pc:sldChg chg="addSp delSp modSp mod">
        <pc:chgData name="Meyer Raphael (PAR-ES)" userId="79615dfe-ed48-4e74-a40f-4f7b034c1c27" providerId="ADAL" clId="{B46F25F5-6E41-433D-B5B5-6065352641B3}" dt="2022-02-04T08:17:32.996" v="274" actId="21"/>
        <pc:sldMkLst>
          <pc:docMk/>
          <pc:sldMk cId="3727963147" sldId="396"/>
        </pc:sldMkLst>
        <pc:spChg chg="mod">
          <ac:chgData name="Meyer Raphael (PAR-ES)" userId="79615dfe-ed48-4e74-a40f-4f7b034c1c27" providerId="ADAL" clId="{B46F25F5-6E41-433D-B5B5-6065352641B3}" dt="2022-02-04T08:08:24.765" v="9" actId="20577"/>
          <ac:spMkLst>
            <pc:docMk/>
            <pc:sldMk cId="3727963147" sldId="39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39.476" v="11" actId="2711"/>
          <ac:spMkLst>
            <pc:docMk/>
            <pc:sldMk cId="3727963147" sldId="39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54.460" v="13"/>
          <ac:spMkLst>
            <pc:docMk/>
            <pc:sldMk cId="3727963147" sldId="396"/>
            <ac:spMk id="10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7:32.996" v="274" actId="21"/>
          <ac:spMkLst>
            <pc:docMk/>
            <pc:sldMk cId="3727963147" sldId="396"/>
            <ac:spMk id="12" creationId="{B5CE4325-686C-4D61-8BDD-01950FAD6E84}"/>
          </ac:spMkLst>
        </pc:spChg>
        <pc:graphicFrameChg chg="mod">
          <ac:chgData name="Meyer Raphael (PAR-ES)" userId="79615dfe-ed48-4e74-a40f-4f7b034c1c27" providerId="ADAL" clId="{B46F25F5-6E41-433D-B5B5-6065352641B3}" dt="2022-02-04T08:17:21.634" v="219"/>
          <ac:graphicFrameMkLst>
            <pc:docMk/>
            <pc:sldMk cId="3727963147" sldId="396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B46F25F5-6E41-433D-B5B5-6065352641B3}" dt="2022-02-04T08:19:44.165" v="279"/>
        <pc:sldMkLst>
          <pc:docMk/>
          <pc:sldMk cId="3782806074" sldId="397"/>
        </pc:sldMkLst>
        <pc:spChg chg="mod">
          <ac:chgData name="Meyer Raphael (PAR-ES)" userId="79615dfe-ed48-4e74-a40f-4f7b034c1c27" providerId="ADAL" clId="{B46F25F5-6E41-433D-B5B5-6065352641B3}" dt="2022-02-04T08:12:06.060" v="28" actId="20577"/>
          <ac:spMkLst>
            <pc:docMk/>
            <pc:sldMk cId="3782806074" sldId="397"/>
            <ac:spMk id="2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6:15.122" v="172" actId="21"/>
          <ac:spMkLst>
            <pc:docMk/>
            <pc:sldMk cId="3782806074" sldId="397"/>
            <ac:spMk id="3" creationId="{B4D5747D-8103-4C2D-9DAA-C6070CC7DC1C}"/>
          </ac:spMkLst>
        </pc:spChg>
        <pc:spChg chg="mod">
          <ac:chgData name="Meyer Raphael (PAR-ES)" userId="79615dfe-ed48-4e74-a40f-4f7b034c1c27" providerId="ADAL" clId="{B46F25F5-6E41-433D-B5B5-6065352641B3}" dt="2022-02-04T08:12:18.585" v="30"/>
          <ac:spMkLst>
            <pc:docMk/>
            <pc:sldMk cId="3782806074" sldId="397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2:29.661" v="32"/>
          <ac:spMkLst>
            <pc:docMk/>
            <pc:sldMk cId="3782806074" sldId="397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B46F25F5-6E41-433D-B5B5-6065352641B3}" dt="2022-02-04T08:19:44.165" v="279"/>
          <ac:graphicFrameMkLst>
            <pc:docMk/>
            <pc:sldMk cId="3782806074" sldId="397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B46F25F5-6E41-433D-B5B5-6065352641B3}" dt="2022-02-04T08:07:49.814" v="6"/>
        <pc:sldMkLst>
          <pc:docMk/>
          <pc:sldMk cId="89238950" sldId="398"/>
        </pc:sldMkLst>
        <pc:spChg chg="mod">
          <ac:chgData name="Meyer Raphael (PAR-ES)" userId="79615dfe-ed48-4e74-a40f-4f7b034c1c27" providerId="ADAL" clId="{B46F25F5-6E41-433D-B5B5-6065352641B3}" dt="2022-02-04T08:07:02.086" v="2" actId="20577"/>
          <ac:spMkLst>
            <pc:docMk/>
            <pc:sldMk cId="89238950" sldId="39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34.469" v="4" actId="2711"/>
          <ac:spMkLst>
            <pc:docMk/>
            <pc:sldMk cId="89238950" sldId="398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49.814" v="6"/>
          <ac:spMkLst>
            <pc:docMk/>
            <pc:sldMk cId="89238950" sldId="398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7B382D7F-D040-42D5-AA97-CE26EE417BF0}"/>
    <pc:docChg chg="delSld modSld">
      <pc:chgData name="Meyer Raphael (PAR-ES)" userId="79615dfe-ed48-4e74-a40f-4f7b034c1c27" providerId="ADAL" clId="{7B382D7F-D040-42D5-AA97-CE26EE417BF0}" dt="2022-02-04T08:03:40.350" v="13" actId="20577"/>
      <pc:docMkLst>
        <pc:docMk/>
      </pc:docMkLst>
      <pc:sldChg chg="modSp mod">
        <pc:chgData name="Meyer Raphael (PAR-ES)" userId="79615dfe-ed48-4e74-a40f-4f7b034c1c27" providerId="ADAL" clId="{7B382D7F-D040-42D5-AA97-CE26EE417BF0}" dt="2022-02-04T08:03:40.350" v="13" actId="20577"/>
        <pc:sldMkLst>
          <pc:docMk/>
          <pc:sldMk cId="78844114" sldId="395"/>
        </pc:sldMkLst>
        <pc:spChg chg="mod">
          <ac:chgData name="Meyer Raphael (PAR-ES)" userId="79615dfe-ed48-4e74-a40f-4f7b034c1c27" providerId="ADAL" clId="{7B382D7F-D040-42D5-AA97-CE26EE417BF0}" dt="2022-02-04T08:03:40.350" v="13" actId="20577"/>
          <ac:spMkLst>
            <pc:docMk/>
            <pc:sldMk cId="78844114" sldId="395"/>
            <ac:spMk id="2" creationId="{00000000-0000-0000-0000-000000000000}"/>
          </ac:spMkLst>
        </pc:spChg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2105819215" sldId="396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40904585" sldId="397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AB7C5086-CE9D-42F0-A428-52D9E70628BD}"/>
    <pc:docChg chg="addSld delSld modSld sldOrd">
      <pc:chgData name="Meyer Raphael (PAR-ES)" userId="79615dfe-ed48-4e74-a40f-4f7b034c1c27" providerId="ADAL" clId="{AB7C5086-CE9D-42F0-A428-52D9E70628BD}" dt="2022-02-22T15:58:06.242" v="51" actId="47"/>
      <pc:docMkLst>
        <pc:docMk/>
      </pc:docMkLst>
      <pc:sldChg chg="del">
        <pc:chgData name="Meyer Raphael (PAR-ES)" userId="79615dfe-ed48-4e74-a40f-4f7b034c1c27" providerId="ADAL" clId="{AB7C5086-CE9D-42F0-A428-52D9E70628BD}" dt="2022-02-22T15:52:10.62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AB7C5086-CE9D-42F0-A428-52D9E70628BD}" dt="2022-02-22T15:55:05.352" v="22" actId="47"/>
        <pc:sldMkLst>
          <pc:docMk/>
          <pc:sldMk cId="3727963147" sldId="396"/>
        </pc:sldMkLst>
      </pc:sldChg>
      <pc:sldChg chg="del">
        <pc:chgData name="Meyer Raphael (PAR-ES)" userId="79615dfe-ed48-4e74-a40f-4f7b034c1c27" providerId="ADAL" clId="{AB7C5086-CE9D-42F0-A428-52D9E70628BD}" dt="2022-02-22T15:56:33.419" v="39" actId="47"/>
        <pc:sldMkLst>
          <pc:docMk/>
          <pc:sldMk cId="3782806074" sldId="397"/>
        </pc:sldMkLst>
      </pc:sldChg>
      <pc:sldChg chg="del">
        <pc:chgData name="Meyer Raphael (PAR-ES)" userId="79615dfe-ed48-4e74-a40f-4f7b034c1c27" providerId="ADAL" clId="{AB7C5086-CE9D-42F0-A428-52D9E70628BD}" dt="2022-02-22T15:58:06.242" v="51" actId="47"/>
        <pc:sldMkLst>
          <pc:docMk/>
          <pc:sldMk cId="89238950" sldId="398"/>
        </pc:sldMkLst>
      </pc:sldChg>
      <pc:sldChg chg="add ord">
        <pc:chgData name="Meyer Raphael (PAR-ES)" userId="79615dfe-ed48-4e74-a40f-4f7b034c1c27" providerId="ADAL" clId="{AB7C5086-CE9D-42F0-A428-52D9E70628BD}" dt="2022-02-22T15:52:15.391" v="5"/>
        <pc:sldMkLst>
          <pc:docMk/>
          <pc:sldMk cId="1659961403" sldId="399"/>
        </pc:sldMkLst>
      </pc:sldChg>
      <pc:sldChg chg="add del">
        <pc:chgData name="Meyer Raphael (PAR-ES)" userId="79615dfe-ed48-4e74-a40f-4f7b034c1c27" providerId="ADAL" clId="{AB7C5086-CE9D-42F0-A428-52D9E70628BD}" dt="2022-02-22T15:51:52.220" v="1"/>
        <pc:sldMkLst>
          <pc:docMk/>
          <pc:sldMk cId="3488041708" sldId="399"/>
        </pc:sldMkLst>
      </pc:sldChg>
      <pc:sldChg chg="modSp add mod">
        <pc:chgData name="Meyer Raphael (PAR-ES)" userId="79615dfe-ed48-4e74-a40f-4f7b034c1c27" providerId="ADAL" clId="{AB7C5086-CE9D-42F0-A428-52D9E70628BD}" dt="2022-02-22T15:54:34.582" v="21"/>
        <pc:sldMkLst>
          <pc:docMk/>
          <pc:sldMk cId="2418926505" sldId="400"/>
        </pc:sldMkLst>
        <pc:spChg chg="mod">
          <ac:chgData name="Meyer Raphael (PAR-ES)" userId="79615dfe-ed48-4e74-a40f-4f7b034c1c27" providerId="ADAL" clId="{AB7C5086-CE9D-42F0-A428-52D9E70628BD}" dt="2022-02-22T15:52:35.540" v="7"/>
          <ac:spMkLst>
            <pc:docMk/>
            <pc:sldMk cId="2418926505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46.434" v="8"/>
          <ac:spMkLst>
            <pc:docMk/>
            <pc:sldMk cId="2418926505" sldId="400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56.349" v="9"/>
          <ac:spMkLst>
            <pc:docMk/>
            <pc:sldMk cId="2418926505" sldId="400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3:08.186" v="15" actId="20577"/>
          <ac:spMkLst>
            <pc:docMk/>
            <pc:sldMk cId="2418926505" sldId="400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4:34.582" v="21"/>
          <ac:graphicFrameMkLst>
            <pc:docMk/>
            <pc:sldMk cId="2418926505" sldId="40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6:17.910" v="38"/>
        <pc:sldMkLst>
          <pc:docMk/>
          <pc:sldMk cId="3538470781" sldId="401"/>
        </pc:sldMkLst>
        <pc:spChg chg="mod">
          <ac:chgData name="Meyer Raphael (PAR-ES)" userId="79615dfe-ed48-4e74-a40f-4f7b034c1c27" providerId="ADAL" clId="{AB7C5086-CE9D-42F0-A428-52D9E70628BD}" dt="2022-02-22T15:55:22.683" v="26"/>
          <ac:spMkLst>
            <pc:docMk/>
            <pc:sldMk cId="3538470781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31.766" v="27"/>
          <ac:spMkLst>
            <pc:docMk/>
            <pc:sldMk cId="3538470781" sldId="401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49.767" v="28"/>
          <ac:spMkLst>
            <pc:docMk/>
            <pc:sldMk cId="3538470781" sldId="401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55.268" v="34" actId="20577"/>
          <ac:spMkLst>
            <pc:docMk/>
            <pc:sldMk cId="3538470781" sldId="401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6:17.910" v="38"/>
          <ac:graphicFrameMkLst>
            <pc:docMk/>
            <pc:sldMk cId="3538470781" sldId="401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7:57.487" v="50"/>
        <pc:sldMkLst>
          <pc:docMk/>
          <pc:sldMk cId="1333023401" sldId="402"/>
        </pc:sldMkLst>
        <pc:spChg chg="mod">
          <ac:chgData name="Meyer Raphael (PAR-ES)" userId="79615dfe-ed48-4e74-a40f-4f7b034c1c27" providerId="ADAL" clId="{AB7C5086-CE9D-42F0-A428-52D9E70628BD}" dt="2022-02-22T15:56:53.577" v="43"/>
          <ac:spMkLst>
            <pc:docMk/>
            <pc:sldMk cId="1333023401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03.094" v="44"/>
          <ac:spMkLst>
            <pc:docMk/>
            <pc:sldMk cId="1333023401" sldId="402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13.578" v="45"/>
          <ac:spMkLst>
            <pc:docMk/>
            <pc:sldMk cId="1333023401" sldId="402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AB7C5086-CE9D-42F0-A428-52D9E70628BD}" dt="2022-02-22T15:57:57.487" v="50"/>
          <ac:graphicFrameMkLst>
            <pc:docMk/>
            <pc:sldMk cId="1333023401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PS)" userId="fd3b2067-2981-4ad8-bf3a-d2e1004e4fa8" providerId="ADAL" clId="{B97E3835-E456-46DA-ACE1-6AF9B3480F3B}"/>
    <pc:docChg chg="modSld">
      <pc:chgData name="Weigel Stefan (PAR-EPS)" userId="fd3b2067-2981-4ad8-bf3a-d2e1004e4fa8" providerId="ADAL" clId="{B97E3835-E456-46DA-ACE1-6AF9B3480F3B}" dt="2024-02-13T16:45:47.543" v="56" actId="27918"/>
      <pc:docMkLst>
        <pc:docMk/>
      </pc:docMkLst>
      <pc:sldChg chg="modSp mod">
        <pc:chgData name="Weigel Stefan (PAR-EPS)" userId="fd3b2067-2981-4ad8-bf3a-d2e1004e4fa8" providerId="ADAL" clId="{B97E3835-E456-46DA-ACE1-6AF9B3480F3B}" dt="2024-02-13T16:45:47.543" v="56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97E3835-E456-46DA-ACE1-6AF9B3480F3B}" dt="2024-02-13T16:27:20.570" v="1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7573AC9F-D0D9-4306-9F8D-D493F4306C88}"/>
    <pc:docChg chg="modSld">
      <pc:chgData name="Meyer Raphael (PAR-ES)" userId="79615dfe-ed48-4e74-a40f-4f7b034c1c27" providerId="ADAL" clId="{7573AC9F-D0D9-4306-9F8D-D493F4306C88}" dt="2023-02-23T09:43:27.354" v="9" actId="20577"/>
      <pc:docMkLst>
        <pc:docMk/>
      </pc:docMkLst>
      <pc:sldChg chg="modSp mod">
        <pc:chgData name="Meyer Raphael (PAR-ES)" userId="79615dfe-ed48-4e74-a40f-4f7b034c1c27" providerId="ADAL" clId="{7573AC9F-D0D9-4306-9F8D-D493F4306C88}" dt="2023-02-23T09:43:27.354" v="9" actId="20577"/>
        <pc:sldMkLst>
          <pc:docMk/>
          <pc:sldMk cId="1659961403" sldId="399"/>
        </pc:sldMkLst>
        <pc:spChg chg="mod">
          <ac:chgData name="Meyer Raphael (PAR-ES)" userId="79615dfe-ed48-4e74-a40f-4f7b034c1c27" providerId="ADAL" clId="{7573AC9F-D0D9-4306-9F8D-D493F4306C88}" dt="2023-02-23T09:43:27.354" v="9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FDEA964-9349-4F74-9443-C90E6C52997C}"/>
    <pc:docChg chg="delSld">
      <pc:chgData name="Meyer Raphael (PAR-ES)" userId="79615dfe-ed48-4e74-a40f-4f7b034c1c27" providerId="ADAL" clId="{3FDEA964-9349-4F74-9443-C90E6C52997C}" dt="2022-02-03T15:07:07.993" v="2" actId="47"/>
      <pc:docMkLst>
        <pc:docMk/>
      </pc:docMkLst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3FDEA964-9349-4F74-9443-C90E6C52997C}" dt="2022-02-03T15:07:07.993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338066774" sldId="399"/>
        </pc:sldMkLst>
      </pc:sldChg>
      <pc:sldMasterChg chg="delSldLayout">
        <pc:chgData name="Meyer Raphael (PAR-ES)" userId="79615dfe-ed48-4e74-a40f-4f7b034c1c27" providerId="ADAL" clId="{3FDEA964-9349-4F74-9443-C90E6C52997C}" dt="2022-02-03T15:06:58.054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3FDEA964-9349-4F74-9443-C90E6C52997C}" dt="2022-02-03T15:06:58.054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Consommation d’énergi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8</c:f>
              <c:strCache>
                <c:ptCount val="6"/>
                <c:pt idx="0">
                  <c:v>Courant de traction</c:v>
                </c:pt>
                <c:pt idx="1">
                  <c:v>Diesel pour la traction</c:v>
                </c:pt>
                <c:pt idx="2">
                  <c:v>Consommation propre due à la mise à disposition de courant de traction </c:v>
                </c:pt>
                <c:pt idx="3">
                  <c:v>Carburant pour véhicules routiers, machines et appareils</c:v>
                </c:pt>
                <c:pt idx="4">
                  <c:v>Courant pour bâtiments et installations</c:v>
                </c:pt>
                <c:pt idx="5">
                  <c:v>Énergie thermique pour bâtiments et installations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660.1709315026701</c:v>
                </c:pt>
                <c:pt idx="1">
                  <c:v>96.165214389157896</c:v>
                </c:pt>
                <c:pt idx="2">
                  <c:v>139.73230000000001</c:v>
                </c:pt>
                <c:pt idx="3">
                  <c:v>28.287065179300001</c:v>
                </c:pt>
                <c:pt idx="4">
                  <c:v>281.12266063769403</c:v>
                </c:pt>
                <c:pt idx="5">
                  <c:v>178.765739590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"/>
          <c:y val="0.73015177378334406"/>
          <c:w val="0.98471438417677892"/>
          <c:h val="0.26984822621665594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Émissions de gaz à effet de serr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8</c:f>
              <c:strCache>
                <c:ptCount val="6"/>
                <c:pt idx="0">
                  <c:v>Courant de traction</c:v>
                </c:pt>
                <c:pt idx="1">
                  <c:v>Diesel pour la traction</c:v>
                </c:pt>
                <c:pt idx="2">
                  <c:v>Consommation propre due à la mise à disposition de courant de traction </c:v>
                </c:pt>
                <c:pt idx="3">
                  <c:v>Carburant pour véhicules routiers, machines et appareils </c:v>
                </c:pt>
                <c:pt idx="4">
                  <c:v>Courant pour bâtiments et installations</c:v>
                </c:pt>
                <c:pt idx="5">
                  <c:v>Énergie thermique pour les bâtiments et installations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360.6938958123101</c:v>
                </c:pt>
                <c:pt idx="1">
                  <c:v>26587.368645949198</c:v>
                </c:pt>
                <c:pt idx="2">
                  <c:v>0</c:v>
                </c:pt>
                <c:pt idx="3">
                  <c:v>7884.44641809732</c:v>
                </c:pt>
                <c:pt idx="4">
                  <c:v>256.01238539535802</c:v>
                </c:pt>
                <c:pt idx="5">
                  <c:v>25964.098742205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5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Énergie et climat e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970708963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94019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>
              <a:defRPr/>
            </a:pPr>
            <a:r>
              <a:rPr kumimoji="0" lang="fr-CH" sz="1400" b="0" i="0" u="none" strike="noStrike" kern="1200" cap="none" spc="0" normalizeH="0" baseline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Consommation d’énergi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Émissions de gaz à effet de serre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780180107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844595" y="5306032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schemas.microsoft.com/office/2006/metadata/properties"/>
    <ds:schemaRef ds:uri="96e82a89-ba48-4728-b345-cf206dbec8f1"/>
    <ds:schemaRef ds:uri="http://purl.org/dc/terms/"/>
    <ds:schemaRef ds:uri="2f5c8543-cf23-4718-a3b8-32b0a91d511a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elements/1.1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0E60DB-EB3F-4CDB-970E-7C0B5B17DD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Énergie et climat e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Énergie et climat en 2023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4-05-03T12:1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